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299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a4748e5a8131ea673c8b4e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3365377-83A7-4590-82AB-2029FB7735D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fa549d9a2e4250c2772bba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71EB688-2A70-4C0C-8542-9870BCEEDB0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699478bbb4fa8268055fea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6C5674B-68D2-4972-9768-DD791585C10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02f4351bd9a1a6dd2c5d32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5746A2B-9893-4BDD-BADE-E357D42A20D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92443f1af1118e8ec0610c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F61A495-DB60-4095-B2C9-F1261ADF9F9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4aa44b0bda3157445dc3b4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9A8A9CE-C333-4D91-8808-9EF61873706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3a1437a80377e4728c4c63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0D80587-6243-41C5-8DD7-15C8EDF70CD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56445aaa3258b27a8bee30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B078061-75D5-4036-AA8D-EEA7DACA719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14a49cba63eedc61dee55d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DC6440A-B62E-476E-BBF0-02578C5C2CC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6af4991bfc763b3fe3c987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881A036-8695-4B5B-A252-255763FDE80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80848eb932ddd354fcf369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932010D-9B89-46FD-A287-B22CB2419E3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65f4bbbbc1cde63f901ba7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0121B39-D2B4-4AE1-A0F9-B49F6D31860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a4d43e7ac37e80a2a17e3a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343FB80-C936-4765-A570-F2AAC30F9C6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3494b20aafc5507dc14cb4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21BA3B9-00E2-4FDA-9ABA-053DF3756E1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0ac4b1f8eeaa33f667d339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550FC21-D6F7-4D97-AF60-67A0D0FEFE7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ba34067a54176458eadcdb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C426889-5278-466C-A099-FB9FD743A97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9c74c5c850f6f1e7a5c755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F3A330A-BC00-448F-8AC2-D163782F855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81743d692ec46d7a318678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A5D8CF5-2A4D-46F4-A69A-D94FC7B8A69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d57424fbe4ce84f7e41919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409A23B-8962-423A-8985-A0C4D6E654A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fa44090a8ccbfca4283183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FEBEEBE-8F5E-4AA7-8C9C-C9F9D9FAA57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45a4fa5a68ec4e7b5474ac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151AF76-B72F-49D0-BB7B-7E161F39B6D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51a44f893f8c8594d27ce8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DE98763-7AE0-4943-91A3-99591139ADB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4474b11b33486d4f6706b0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1E41430-62CF-4E9A-9B5E-9A59FE2024F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47e4bb8b3babd6ffc30774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9079195-D060-4008-BD47-ECCAB6E9A28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1914cc09330bd6c9cf1945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FAD8C9F-2A2A-48C6-A917-602C0B63514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fee4684aae90b662cf98d0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605E84C-0391-4634-A77F-ABA52CF8B8D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4fe495c99d7825f3a8f9f1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F6E305B-AF55-49C4-B4C3-BB4D8848237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dc8494a86a5aac7735600c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B3813E7-AFD1-463E-B372-6B2E0DE7BCE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b5f4ba7a9dbf80b340e5d3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F7B6B2C-43CA-4453-B7E6-E0E752A4F55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dae472bbf26f38aceb8272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2B1876F-8251-4649-A6D2-7D5A66B540B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dea4cb8b43797754d030dc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1E0A2D1-327D-4A3C-BA25-B13AB53EFF6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ac8a40b4a847c73d1434f73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C4271EF-DD21-45C7-9CC8-6369CE63AD5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a6a49b793143243cf3faba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8C6AC9A-A021-4E26-A25C-8544FE0B04D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cf240eb84c38bac80c884a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CC7D60A-8C65-4F56-9534-1C8A42A385C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f8942c69229680237ebbef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56D6D6A-B242-4E04-83C3-129FDBBF291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6ce41f4bfa9c1a190e0546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3AA7A6F-B9C4-4B5B-AB4E-C588619D956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1c34cc3811878625d3d3e9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F5552CF-CF72-45C3-9453-9E7A0D1C670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de5401991636fc7646d4b1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0A02104-3B45-4821-8788-EEFBCC94A53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ette nouvelle solution, combinée avec l'emploi de nouveaux matériaux (polyacétal et Ertalythe®), permet de réduire considérablement l'allongement de la chaîne e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d'augmenter sa durée de vie de 50 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L'utilisation de ces nouvelles matières premières réduit aussi le frottement et supprime toute contamination Résultat : jusqu'à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30 % de baisse des coûts de maintenanc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urée de vie moyenne de 18 000 heures ou 3 an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eilleure résistance à l'allongement, d'où une synchronisation plus efficace pendant le transfert des préform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fil d'osselets optimisé pour éliminer les frottement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ague en polyacétal pour un contact amélioré avec la roue tendeu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ague de guidage avec ressort interne en Ertalythe® :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évite l'usure des bagues auto-lubrifié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lan et kit de maintenance disponibl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sions Quick Change et non Quick Change disponibl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stallation en lieu et place de la chaîne standard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Augmentez la durée de vie de 50 %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89" y="142950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Chaîne de tournettes longue durée de vie (technologie bouterollée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optimisation des coûts, rendement,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 Series 2 (MM, GM, TM, pas four 40 ou 50 mm, four de chauffe préférentielle, variante à galets guidés (en W))</a:t>
            </a:r>
            <a:endParaRPr kumimoji="0" lang="fr-F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482" y="4246719"/>
            <a:ext cx="2075813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ACA1C385-32D0-4366-B784-7CA7A0794C65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1327744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Augmentez la durée de vie de 50 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4</cp:revision>
  <dcterms:created xsi:type="dcterms:W3CDTF">2014-05-22T13:23:46Z</dcterms:created>
  <dcterms:modified xsi:type="dcterms:W3CDTF">2019-03-14T15:3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